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8"/>
  </p:notesMasterIdLst>
  <p:handoutMasterIdLst>
    <p:handoutMasterId r:id="rId9"/>
  </p:handoutMasterIdLst>
  <p:sldIdLst>
    <p:sldId id="263" r:id="rId5"/>
    <p:sldId id="264" r:id="rId6"/>
    <p:sldId id="265" r:id="rId7"/>
  </p:sldIdLst>
  <p:sldSz cx="5145088" cy="6429375"/>
  <p:notesSz cx="6797675" cy="9926638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3" userDrawn="1">
          <p15:clr>
            <a:srgbClr val="A4A3A4"/>
          </p15:clr>
        </p15:guide>
        <p15:guide id="2" pos="160" userDrawn="1">
          <p15:clr>
            <a:srgbClr val="A4A3A4"/>
          </p15:clr>
        </p15:guide>
        <p15:guide id="3" pos="1589" userDrawn="1">
          <p15:clr>
            <a:srgbClr val="A4A3A4"/>
          </p15:clr>
        </p15:guide>
        <p15:guide id="4" pos="1652" userDrawn="1">
          <p15:clr>
            <a:srgbClr val="A4A3A4"/>
          </p15:clr>
        </p15:guide>
        <p15:guide id="6" orient="horz" pos="976" userDrawn="1">
          <p15:clr>
            <a:srgbClr val="A4A3A4"/>
          </p15:clr>
        </p15:guide>
        <p15:guide id="7" pos="30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6A5B23-0EC1-4EC0-9BB7-1681484CD22D}" v="2" dt="2025-01-13T13:19:18.265"/>
    <p1510:client id="{DA2D61EC-EA52-4481-8F0D-CD1FC3A15015}" v="2" dt="2025-01-13T13:05:00.281"/>
  </p1510:revLst>
</p1510:revInfo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00" autoAdjust="0"/>
    <p:restoredTop sz="94423" autoAdjust="0"/>
  </p:normalViewPr>
  <p:slideViewPr>
    <p:cSldViewPr snapToGrid="0" showGuides="1">
      <p:cViewPr varScale="1">
        <p:scale>
          <a:sx n="118" d="100"/>
          <a:sy n="118" d="100"/>
        </p:scale>
        <p:origin x="2370" y="96"/>
      </p:cViewPr>
      <p:guideLst>
        <p:guide orient="horz" pos="3613"/>
        <p:guide pos="160"/>
        <p:guide pos="1589"/>
        <p:guide pos="1652"/>
        <p:guide orient="horz" pos="976"/>
        <p:guide pos="30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ne Kunzelmann" userId="460bbbb8-bd33-4b02-9649-52f5bccb28ee" providerId="ADAL" clId="{DA2D61EC-EA52-4481-8F0D-CD1FC3A15015}"/>
    <pc:docChg chg="undo custSel modSld">
      <pc:chgData name="Susanne Kunzelmann" userId="460bbbb8-bd33-4b02-9649-52f5bccb28ee" providerId="ADAL" clId="{DA2D61EC-EA52-4481-8F0D-CD1FC3A15015}" dt="2025-01-13T13:10:33.222" v="188" actId="478"/>
      <pc:docMkLst>
        <pc:docMk/>
      </pc:docMkLst>
      <pc:sldChg chg="addSp delSp modSp mod">
        <pc:chgData name="Susanne Kunzelmann" userId="460bbbb8-bd33-4b02-9649-52f5bccb28ee" providerId="ADAL" clId="{DA2D61EC-EA52-4481-8F0D-CD1FC3A15015}" dt="2025-01-13T13:04:24.279" v="96" actId="21"/>
        <pc:sldMkLst>
          <pc:docMk/>
          <pc:sldMk cId="2705153487" sldId="263"/>
        </pc:sldMkLst>
        <pc:spChg chg="mod">
          <ac:chgData name="Susanne Kunzelmann" userId="460bbbb8-bd33-4b02-9649-52f5bccb28ee" providerId="ADAL" clId="{DA2D61EC-EA52-4481-8F0D-CD1FC3A15015}" dt="2025-01-13T13:04:20.614" v="95" actId="1035"/>
          <ac:spMkLst>
            <pc:docMk/>
            <pc:sldMk cId="2705153487" sldId="263"/>
            <ac:spMk id="9" creationId="{A3CDD64F-5311-9982-33C5-3CB006F92F63}"/>
          </ac:spMkLst>
        </pc:spChg>
        <pc:spChg chg="mod">
          <ac:chgData name="Susanne Kunzelmann" userId="460bbbb8-bd33-4b02-9649-52f5bccb28ee" providerId="ADAL" clId="{DA2D61EC-EA52-4481-8F0D-CD1FC3A15015}" dt="2025-01-13T13:04:10.326" v="85" actId="1035"/>
          <ac:spMkLst>
            <pc:docMk/>
            <pc:sldMk cId="2705153487" sldId="263"/>
            <ac:spMk id="13" creationId="{52EF39B6-CA80-8AD4-7C9D-1E760FA95FE0}"/>
          </ac:spMkLst>
        </pc:spChg>
        <pc:spChg chg="mod">
          <ac:chgData name="Susanne Kunzelmann" userId="460bbbb8-bd33-4b02-9649-52f5bccb28ee" providerId="ADAL" clId="{DA2D61EC-EA52-4481-8F0D-CD1FC3A15015}" dt="2025-01-13T13:04:03.213" v="61" actId="1035"/>
          <ac:spMkLst>
            <pc:docMk/>
            <pc:sldMk cId="2705153487" sldId="263"/>
            <ac:spMk id="19" creationId="{FAE4459C-77EF-411B-E8AF-8ADBEF37514B}"/>
          </ac:spMkLst>
        </pc:spChg>
        <pc:grpChg chg="mod">
          <ac:chgData name="Susanne Kunzelmann" userId="460bbbb8-bd33-4b02-9649-52f5bccb28ee" providerId="ADAL" clId="{DA2D61EC-EA52-4481-8F0D-CD1FC3A15015}" dt="2025-01-13T13:04:10.326" v="85" actId="1035"/>
          <ac:grpSpMkLst>
            <pc:docMk/>
            <pc:sldMk cId="2705153487" sldId="263"/>
            <ac:grpSpMk id="10" creationId="{9C38EA74-EA86-B717-A0E0-0AF851754EC6}"/>
          </ac:grpSpMkLst>
        </pc:grpChg>
        <pc:grpChg chg="mod">
          <ac:chgData name="Susanne Kunzelmann" userId="460bbbb8-bd33-4b02-9649-52f5bccb28ee" providerId="ADAL" clId="{DA2D61EC-EA52-4481-8F0D-CD1FC3A15015}" dt="2025-01-13T13:04:03.213" v="61" actId="1035"/>
          <ac:grpSpMkLst>
            <pc:docMk/>
            <pc:sldMk cId="2705153487" sldId="263"/>
            <ac:grpSpMk id="14" creationId="{67214773-2BFB-4043-16A1-4A767A67B4EC}"/>
          </ac:grpSpMkLst>
        </pc:grpChg>
        <pc:cxnChg chg="add del mod">
          <ac:chgData name="Susanne Kunzelmann" userId="460bbbb8-bd33-4b02-9649-52f5bccb28ee" providerId="ADAL" clId="{DA2D61EC-EA52-4481-8F0D-CD1FC3A15015}" dt="2025-01-13T13:04:24.279" v="96" actId="21"/>
          <ac:cxnSpMkLst>
            <pc:docMk/>
            <pc:sldMk cId="2705153487" sldId="263"/>
            <ac:cxnSpMk id="5" creationId="{54E87D7B-00D1-B99D-5D84-5342C803FFF3}"/>
          </ac:cxnSpMkLst>
        </pc:cxnChg>
      </pc:sldChg>
      <pc:sldChg chg="addSp delSp modSp mod">
        <pc:chgData name="Susanne Kunzelmann" userId="460bbbb8-bd33-4b02-9649-52f5bccb28ee" providerId="ADAL" clId="{DA2D61EC-EA52-4481-8F0D-CD1FC3A15015}" dt="2025-01-13T13:04:58.089" v="143" actId="21"/>
        <pc:sldMkLst>
          <pc:docMk/>
          <pc:sldMk cId="3458815656" sldId="264"/>
        </pc:sldMkLst>
        <pc:spChg chg="mod">
          <ac:chgData name="Susanne Kunzelmann" userId="460bbbb8-bd33-4b02-9649-52f5bccb28ee" providerId="ADAL" clId="{DA2D61EC-EA52-4481-8F0D-CD1FC3A15015}" dt="2025-01-13T13:04:31.354" v="107" actId="1035"/>
          <ac:spMkLst>
            <pc:docMk/>
            <pc:sldMk cId="3458815656" sldId="264"/>
            <ac:spMk id="6" creationId="{C7C61891-EBA6-2E28-5620-6833724AAE75}"/>
          </ac:spMkLst>
        </pc:spChg>
        <pc:spChg chg="mod">
          <ac:chgData name="Susanne Kunzelmann" userId="460bbbb8-bd33-4b02-9649-52f5bccb28ee" providerId="ADAL" clId="{DA2D61EC-EA52-4481-8F0D-CD1FC3A15015}" dt="2025-01-13T13:04:50.045" v="142" actId="1036"/>
          <ac:spMkLst>
            <pc:docMk/>
            <pc:sldMk cId="3458815656" sldId="264"/>
            <ac:spMk id="15" creationId="{5EF6B812-0EA7-4F09-4A63-D7B1A416C1DD}"/>
          </ac:spMkLst>
        </pc:spChg>
        <pc:spChg chg="mod">
          <ac:chgData name="Susanne Kunzelmann" userId="460bbbb8-bd33-4b02-9649-52f5bccb28ee" providerId="ADAL" clId="{DA2D61EC-EA52-4481-8F0D-CD1FC3A15015}" dt="2025-01-13T13:04:50.045" v="142" actId="1036"/>
          <ac:spMkLst>
            <pc:docMk/>
            <pc:sldMk cId="3458815656" sldId="264"/>
            <ac:spMk id="19" creationId="{089E5572-CC9F-AB5F-771D-0FD870DF9180}"/>
          </ac:spMkLst>
        </pc:spChg>
        <pc:grpChg chg="mod">
          <ac:chgData name="Susanne Kunzelmann" userId="460bbbb8-bd33-4b02-9649-52f5bccb28ee" providerId="ADAL" clId="{DA2D61EC-EA52-4481-8F0D-CD1FC3A15015}" dt="2025-01-13T13:04:50.045" v="142" actId="1036"/>
          <ac:grpSpMkLst>
            <pc:docMk/>
            <pc:sldMk cId="3458815656" sldId="264"/>
            <ac:grpSpMk id="12" creationId="{250D2223-C92D-61AA-0D61-BA249CD5E633}"/>
          </ac:grpSpMkLst>
        </pc:grpChg>
        <pc:grpChg chg="mod">
          <ac:chgData name="Susanne Kunzelmann" userId="460bbbb8-bd33-4b02-9649-52f5bccb28ee" providerId="ADAL" clId="{DA2D61EC-EA52-4481-8F0D-CD1FC3A15015}" dt="2025-01-13T13:04:50.045" v="142" actId="1036"/>
          <ac:grpSpMkLst>
            <pc:docMk/>
            <pc:sldMk cId="3458815656" sldId="264"/>
            <ac:grpSpMk id="16" creationId="{9ECA5680-042A-0C1A-88D1-ECC8A0D7732B}"/>
          </ac:grpSpMkLst>
        </pc:grpChg>
        <pc:cxnChg chg="add del mod">
          <ac:chgData name="Susanne Kunzelmann" userId="460bbbb8-bd33-4b02-9649-52f5bccb28ee" providerId="ADAL" clId="{DA2D61EC-EA52-4481-8F0D-CD1FC3A15015}" dt="2025-01-13T13:04:58.089" v="143" actId="21"/>
          <ac:cxnSpMkLst>
            <pc:docMk/>
            <pc:sldMk cId="3458815656" sldId="264"/>
            <ac:cxnSpMk id="5" creationId="{54E87D7B-00D1-B99D-5D84-5342C803FFF3}"/>
          </ac:cxnSpMkLst>
        </pc:cxnChg>
      </pc:sldChg>
      <pc:sldChg chg="addSp delSp modSp mod">
        <pc:chgData name="Susanne Kunzelmann" userId="460bbbb8-bd33-4b02-9649-52f5bccb28ee" providerId="ADAL" clId="{DA2D61EC-EA52-4481-8F0D-CD1FC3A15015}" dt="2025-01-13T13:10:33.222" v="188" actId="478"/>
        <pc:sldMkLst>
          <pc:docMk/>
          <pc:sldMk cId="2407511326" sldId="265"/>
        </pc:sldMkLst>
        <pc:spChg chg="mod">
          <ac:chgData name="Susanne Kunzelmann" userId="460bbbb8-bd33-4b02-9649-52f5bccb28ee" providerId="ADAL" clId="{DA2D61EC-EA52-4481-8F0D-CD1FC3A15015}" dt="2025-01-13T13:05:17.946" v="187" actId="1035"/>
          <ac:spMkLst>
            <pc:docMk/>
            <pc:sldMk cId="2407511326" sldId="265"/>
            <ac:spMk id="5" creationId="{355AAA37-DA8D-EF4A-1E2A-B84734798FE0}"/>
          </ac:spMkLst>
        </pc:spChg>
        <pc:spChg chg="mod">
          <ac:chgData name="Susanne Kunzelmann" userId="460bbbb8-bd33-4b02-9649-52f5bccb28ee" providerId="ADAL" clId="{DA2D61EC-EA52-4481-8F0D-CD1FC3A15015}" dt="2025-01-13T13:05:06.064" v="154" actId="1035"/>
          <ac:spMkLst>
            <pc:docMk/>
            <pc:sldMk cId="2407511326" sldId="265"/>
            <ac:spMk id="6" creationId="{C7C61891-EBA6-2E28-5620-6833724AAE75}"/>
          </ac:spMkLst>
        </pc:spChg>
        <pc:spChg chg="mod">
          <ac:chgData name="Susanne Kunzelmann" userId="460bbbb8-bd33-4b02-9649-52f5bccb28ee" providerId="ADAL" clId="{DA2D61EC-EA52-4481-8F0D-CD1FC3A15015}" dt="2025-01-13T13:05:17.946" v="187" actId="1035"/>
          <ac:spMkLst>
            <pc:docMk/>
            <pc:sldMk cId="2407511326" sldId="265"/>
            <ac:spMk id="10" creationId="{DF41B3A0-64DF-5D9F-8C54-A6BD4A156023}"/>
          </ac:spMkLst>
        </pc:spChg>
        <pc:grpChg chg="mod">
          <ac:chgData name="Susanne Kunzelmann" userId="460bbbb8-bd33-4b02-9649-52f5bccb28ee" providerId="ADAL" clId="{DA2D61EC-EA52-4481-8F0D-CD1FC3A15015}" dt="2025-01-13T13:05:17.946" v="187" actId="1035"/>
          <ac:grpSpMkLst>
            <pc:docMk/>
            <pc:sldMk cId="2407511326" sldId="265"/>
            <ac:grpSpMk id="2" creationId="{C008B246-6DF1-6941-F2BA-06D959C009E6}"/>
          </ac:grpSpMkLst>
        </pc:grpChg>
        <pc:grpChg chg="mod">
          <ac:chgData name="Susanne Kunzelmann" userId="460bbbb8-bd33-4b02-9649-52f5bccb28ee" providerId="ADAL" clId="{DA2D61EC-EA52-4481-8F0D-CD1FC3A15015}" dt="2025-01-13T13:05:17.946" v="187" actId="1035"/>
          <ac:grpSpMkLst>
            <pc:docMk/>
            <pc:sldMk cId="2407511326" sldId="265"/>
            <ac:grpSpMk id="7" creationId="{598172FA-D66A-DFCD-22A5-06E98E9F26F1}"/>
          </ac:grpSpMkLst>
        </pc:grpChg>
        <pc:cxnChg chg="add del mod">
          <ac:chgData name="Susanne Kunzelmann" userId="460bbbb8-bd33-4b02-9649-52f5bccb28ee" providerId="ADAL" clId="{DA2D61EC-EA52-4481-8F0D-CD1FC3A15015}" dt="2025-01-13T13:10:33.222" v="188" actId="478"/>
          <ac:cxnSpMkLst>
            <pc:docMk/>
            <pc:sldMk cId="2407511326" sldId="265"/>
            <ac:cxnSpMk id="12" creationId="{54E87D7B-00D1-B99D-5D84-5342C803FFF3}"/>
          </ac:cxnSpMkLst>
        </pc:cxnChg>
      </pc:sldChg>
    </pc:docChg>
  </pc:docChgLst>
  <pc:docChgLst>
    <pc:chgData name="Susanne Kunzelmann" userId="460bbbb8-bd33-4b02-9649-52f5bccb28ee" providerId="ADAL" clId="{206A5B23-0EC1-4EC0-9BB7-1681484CD22D}"/>
    <pc:docChg chg="custSel modMainMaster">
      <pc:chgData name="Susanne Kunzelmann" userId="460bbbb8-bd33-4b02-9649-52f5bccb28ee" providerId="ADAL" clId="{206A5B23-0EC1-4EC0-9BB7-1681484CD22D}" dt="2025-01-13T13:19:18.265" v="26"/>
      <pc:docMkLst>
        <pc:docMk/>
      </pc:docMkLst>
      <pc:sldMasterChg chg="modSldLayout">
        <pc:chgData name="Susanne Kunzelmann" userId="460bbbb8-bd33-4b02-9649-52f5bccb28ee" providerId="ADAL" clId="{206A5B23-0EC1-4EC0-9BB7-1681484CD22D}" dt="2025-01-13T13:19:18.265" v="26"/>
        <pc:sldMasterMkLst>
          <pc:docMk/>
          <pc:sldMasterMk cId="4007804044" sldId="2147483660"/>
        </pc:sldMasterMkLst>
        <pc:sldLayoutChg chg="addSp delSp modSp mod">
          <pc:chgData name="Susanne Kunzelmann" userId="460bbbb8-bd33-4b02-9649-52f5bccb28ee" providerId="ADAL" clId="{206A5B23-0EC1-4EC0-9BB7-1681484CD22D}" dt="2025-01-13T13:19:14.569" v="24" actId="1036"/>
          <pc:sldLayoutMkLst>
            <pc:docMk/>
            <pc:sldMasterMk cId="4007804044" sldId="2147483660"/>
            <pc:sldLayoutMk cId="683106479" sldId="2147483663"/>
          </pc:sldLayoutMkLst>
          <pc:picChg chg="del">
            <ac:chgData name="Susanne Kunzelmann" userId="460bbbb8-bd33-4b02-9649-52f5bccb28ee" providerId="ADAL" clId="{206A5B23-0EC1-4EC0-9BB7-1681484CD22D}" dt="2025-01-13T13:19:10.523" v="14" actId="478"/>
            <ac:picMkLst>
              <pc:docMk/>
              <pc:sldMasterMk cId="4007804044" sldId="2147483660"/>
              <pc:sldLayoutMk cId="683106479" sldId="2147483663"/>
              <ac:picMk id="2" creationId="{AF5E8510-3EBB-27BA-BC4D-7ED16AA260CC}"/>
            </ac:picMkLst>
          </pc:picChg>
          <pc:picChg chg="add mod">
            <ac:chgData name="Susanne Kunzelmann" userId="460bbbb8-bd33-4b02-9649-52f5bccb28ee" providerId="ADAL" clId="{206A5B23-0EC1-4EC0-9BB7-1681484CD22D}" dt="2025-01-13T13:19:14.569" v="24" actId="1036"/>
            <ac:picMkLst>
              <pc:docMk/>
              <pc:sldMasterMk cId="4007804044" sldId="2147483660"/>
              <pc:sldLayoutMk cId="683106479" sldId="2147483663"/>
              <ac:picMk id="4" creationId="{358E6224-4F16-D7B6-48DA-BB6160609961}"/>
            </ac:picMkLst>
          </pc:picChg>
        </pc:sldLayoutChg>
        <pc:sldLayoutChg chg="addSp delSp modSp mod">
          <pc:chgData name="Susanne Kunzelmann" userId="460bbbb8-bd33-4b02-9649-52f5bccb28ee" providerId="ADAL" clId="{206A5B23-0EC1-4EC0-9BB7-1681484CD22D}" dt="2025-01-13T13:19:18.265" v="26"/>
          <pc:sldLayoutMkLst>
            <pc:docMk/>
            <pc:sldMasterMk cId="4007804044" sldId="2147483660"/>
            <pc:sldLayoutMk cId="3717505558" sldId="2147483664"/>
          </pc:sldLayoutMkLst>
          <pc:picChg chg="add mod">
            <ac:chgData name="Susanne Kunzelmann" userId="460bbbb8-bd33-4b02-9649-52f5bccb28ee" providerId="ADAL" clId="{206A5B23-0EC1-4EC0-9BB7-1681484CD22D}" dt="2025-01-13T13:19:18.265" v="26"/>
            <ac:picMkLst>
              <pc:docMk/>
              <pc:sldMasterMk cId="4007804044" sldId="2147483660"/>
              <pc:sldLayoutMk cId="3717505558" sldId="2147483664"/>
              <ac:picMk id="2" creationId="{6EA74520-0C41-B9AC-1EE8-7536AB6E6B97}"/>
            </ac:picMkLst>
          </pc:picChg>
          <pc:picChg chg="del">
            <ac:chgData name="Susanne Kunzelmann" userId="460bbbb8-bd33-4b02-9649-52f5bccb28ee" providerId="ADAL" clId="{206A5B23-0EC1-4EC0-9BB7-1681484CD22D}" dt="2025-01-13T13:19:17.991" v="25" actId="478"/>
            <ac:picMkLst>
              <pc:docMk/>
              <pc:sldMasterMk cId="4007804044" sldId="2147483660"/>
              <pc:sldLayoutMk cId="3717505558" sldId="2147483664"/>
              <ac:picMk id="3" creationId="{1D01C7B7-89F1-D95C-9AD9-FA593C847B1B}"/>
            </ac:picMkLst>
          </pc:pic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13.01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1/13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70113" y="923925"/>
            <a:ext cx="2457450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e Post Kurz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9D18B596-680B-5B7C-C07E-A14DFB13BA4A}"/>
              </a:ext>
            </a:extLst>
          </p:cNvPr>
          <p:cNvSpPr>
            <a:spLocks noChangeAspect="1"/>
          </p:cNvSpPr>
          <p:nvPr userDrawn="1"/>
        </p:nvSpPr>
        <p:spPr>
          <a:xfrm>
            <a:off x="-794" y="0"/>
            <a:ext cx="5144400" cy="6430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985"/>
          <a:ext cx="894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985"/>
                        <a:ext cx="894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984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2" name="Bildplatzhalter 41">
            <a:extLst>
              <a:ext uri="{FF2B5EF4-FFF2-40B4-BE49-F238E27FC236}">
                <a16:creationId xmlns:a16="http://schemas.microsoft.com/office/drawing/2014/main" id="{9EC96741-CE45-5924-497B-7EDFDCB94F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-2"/>
            <a:ext cx="5145088" cy="3434363"/>
          </a:xfrm>
          <a:custGeom>
            <a:avLst/>
            <a:gdLst>
              <a:gd name="connsiteX0" fmla="*/ 0 w 5145088"/>
              <a:gd name="connsiteY0" fmla="*/ 0 h 2747490"/>
              <a:gd name="connsiteX1" fmla="*/ 5145088 w 5145088"/>
              <a:gd name="connsiteY1" fmla="*/ 0 h 2747490"/>
              <a:gd name="connsiteX2" fmla="*/ 5145088 w 5145088"/>
              <a:gd name="connsiteY2" fmla="*/ 2571751 h 2747490"/>
              <a:gd name="connsiteX3" fmla="*/ 3602544 w 5145088"/>
              <a:gd name="connsiteY3" fmla="*/ 2571751 h 2747490"/>
              <a:gd name="connsiteX4" fmla="*/ 3426805 w 5145088"/>
              <a:gd name="connsiteY4" fmla="*/ 2747490 h 2747490"/>
              <a:gd name="connsiteX5" fmla="*/ 3251066 w 5145088"/>
              <a:gd name="connsiteY5" fmla="*/ 2571751 h 2747490"/>
              <a:gd name="connsiteX6" fmla="*/ 0 w 5145088"/>
              <a:gd name="connsiteY6" fmla="*/ 2571751 h 274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5088" h="2747490">
                <a:moveTo>
                  <a:pt x="0" y="0"/>
                </a:moveTo>
                <a:lnTo>
                  <a:pt x="5145088" y="0"/>
                </a:lnTo>
                <a:lnTo>
                  <a:pt x="5145088" y="2571751"/>
                </a:lnTo>
                <a:lnTo>
                  <a:pt x="3602544" y="2571751"/>
                </a:lnTo>
                <a:lnTo>
                  <a:pt x="3426805" y="2747490"/>
                </a:lnTo>
                <a:lnTo>
                  <a:pt x="3251066" y="2571751"/>
                </a:lnTo>
                <a:lnTo>
                  <a:pt x="0" y="257175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58E6224-4F16-D7B6-48DA-BB616060996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958" y="5914700"/>
            <a:ext cx="671430" cy="3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106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Me Post Lang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hteck 42">
            <a:extLst>
              <a:ext uri="{FF2B5EF4-FFF2-40B4-BE49-F238E27FC236}">
                <a16:creationId xmlns:a16="http://schemas.microsoft.com/office/drawing/2014/main" id="{9D18B596-680B-5B7C-C07E-A14DFB13BA4A}"/>
              </a:ext>
            </a:extLst>
          </p:cNvPr>
          <p:cNvSpPr>
            <a:spLocks noChangeAspect="1"/>
          </p:cNvSpPr>
          <p:nvPr userDrawn="1"/>
        </p:nvSpPr>
        <p:spPr>
          <a:xfrm>
            <a:off x="-794" y="0"/>
            <a:ext cx="5144400" cy="6430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985"/>
          <a:ext cx="894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1985"/>
                        <a:ext cx="894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984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1712ADA8-E497-A140-E973-E4FDEB7EE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-1"/>
            <a:ext cx="5145088" cy="3428945"/>
          </a:xfrm>
          <a:custGeom>
            <a:avLst/>
            <a:gdLst>
              <a:gd name="connsiteX0" fmla="*/ 0 w 5145088"/>
              <a:gd name="connsiteY0" fmla="*/ 0 h 2747490"/>
              <a:gd name="connsiteX1" fmla="*/ 5145088 w 5145088"/>
              <a:gd name="connsiteY1" fmla="*/ 0 h 2747490"/>
              <a:gd name="connsiteX2" fmla="*/ 5145088 w 5145088"/>
              <a:gd name="connsiteY2" fmla="*/ 2571751 h 2747490"/>
              <a:gd name="connsiteX3" fmla="*/ 3602544 w 5145088"/>
              <a:gd name="connsiteY3" fmla="*/ 2571751 h 2747490"/>
              <a:gd name="connsiteX4" fmla="*/ 3426805 w 5145088"/>
              <a:gd name="connsiteY4" fmla="*/ 2747490 h 2747490"/>
              <a:gd name="connsiteX5" fmla="*/ 3251066 w 5145088"/>
              <a:gd name="connsiteY5" fmla="*/ 2571751 h 2747490"/>
              <a:gd name="connsiteX6" fmla="*/ 0 w 5145088"/>
              <a:gd name="connsiteY6" fmla="*/ 2571751 h 2747490"/>
              <a:gd name="connsiteX0" fmla="*/ 0 w 5145088"/>
              <a:gd name="connsiteY0" fmla="*/ 0 h 2747490"/>
              <a:gd name="connsiteX1" fmla="*/ 5145088 w 5145088"/>
              <a:gd name="connsiteY1" fmla="*/ 0 h 2747490"/>
              <a:gd name="connsiteX2" fmla="*/ 5145088 w 5145088"/>
              <a:gd name="connsiteY2" fmla="*/ 2571751 h 2747490"/>
              <a:gd name="connsiteX3" fmla="*/ 3602544 w 5145088"/>
              <a:gd name="connsiteY3" fmla="*/ 2571751 h 2747490"/>
              <a:gd name="connsiteX4" fmla="*/ 3426805 w 5145088"/>
              <a:gd name="connsiteY4" fmla="*/ 2747490 h 2747490"/>
              <a:gd name="connsiteX5" fmla="*/ 455863 w 5145088"/>
              <a:gd name="connsiteY5" fmla="*/ 2571751 h 2747490"/>
              <a:gd name="connsiteX6" fmla="*/ 0 w 5145088"/>
              <a:gd name="connsiteY6" fmla="*/ 2571751 h 2747490"/>
              <a:gd name="connsiteX7" fmla="*/ 0 w 5145088"/>
              <a:gd name="connsiteY7" fmla="*/ 0 h 2747490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3602544 w 5145088"/>
              <a:gd name="connsiteY3" fmla="*/ 2571751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807340 w 5145088"/>
              <a:gd name="connsiteY3" fmla="*/ 2580418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664329 w 5145088"/>
              <a:gd name="connsiteY3" fmla="*/ 2580418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811673 w 5145088"/>
              <a:gd name="connsiteY3" fmla="*/ 2532748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  <a:gd name="connsiteX0" fmla="*/ 0 w 5145088"/>
              <a:gd name="connsiteY0" fmla="*/ 0 h 2743156"/>
              <a:gd name="connsiteX1" fmla="*/ 5145088 w 5145088"/>
              <a:gd name="connsiteY1" fmla="*/ 0 h 2743156"/>
              <a:gd name="connsiteX2" fmla="*/ 5145088 w 5145088"/>
              <a:gd name="connsiteY2" fmla="*/ 2571751 h 2743156"/>
              <a:gd name="connsiteX3" fmla="*/ 803006 w 5145088"/>
              <a:gd name="connsiteY3" fmla="*/ 2571751 h 2743156"/>
              <a:gd name="connsiteX4" fmla="*/ 627267 w 5145088"/>
              <a:gd name="connsiteY4" fmla="*/ 2743156 h 2743156"/>
              <a:gd name="connsiteX5" fmla="*/ 455863 w 5145088"/>
              <a:gd name="connsiteY5" fmla="*/ 2571751 h 2743156"/>
              <a:gd name="connsiteX6" fmla="*/ 0 w 5145088"/>
              <a:gd name="connsiteY6" fmla="*/ 2571751 h 2743156"/>
              <a:gd name="connsiteX7" fmla="*/ 0 w 5145088"/>
              <a:gd name="connsiteY7" fmla="*/ 0 h 2743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5088" h="2743156">
                <a:moveTo>
                  <a:pt x="0" y="0"/>
                </a:moveTo>
                <a:lnTo>
                  <a:pt x="5145088" y="0"/>
                </a:lnTo>
                <a:lnTo>
                  <a:pt x="5145088" y="2571751"/>
                </a:lnTo>
                <a:lnTo>
                  <a:pt x="803006" y="2571751"/>
                </a:lnTo>
                <a:lnTo>
                  <a:pt x="627267" y="2743156"/>
                </a:lnTo>
                <a:lnTo>
                  <a:pt x="455863" y="2571751"/>
                </a:lnTo>
                <a:lnTo>
                  <a:pt x="0" y="2571751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/>
          <a:p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EA74520-0C41-B9AC-1EE8-7536AB6E6B9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56958" y="5914700"/>
            <a:ext cx="671430" cy="33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505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670" y="1491"/>
          <a:ext cx="670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0" y="1491"/>
                        <a:ext cx="670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"/>
            <a:ext cx="66994" cy="1488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 userDrawn="1">
          <p15:clr>
            <a:srgbClr val="F26B43"/>
          </p15:clr>
        </p15:guide>
        <p15:guide id="2" pos="1589" userDrawn="1">
          <p15:clr>
            <a:srgbClr val="F26B43"/>
          </p15:clr>
        </p15:guide>
        <p15:guide id="3" pos="1652" userDrawn="1">
          <p15:clr>
            <a:srgbClr val="F26B43"/>
          </p15:clr>
        </p15:guide>
        <p15:guide id="4" pos="3081" userDrawn="1">
          <p15:clr>
            <a:srgbClr val="F26B43"/>
          </p15:clr>
        </p15:guide>
        <p15:guide id="5" orient="horz" pos="976" userDrawn="1">
          <p15:clr>
            <a:srgbClr val="F26B43"/>
          </p15:clr>
        </p15:guide>
        <p15:guide id="6" orient="horz" pos="36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5A45ADB3-0F58-3825-59D3-BA5675F28CD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elplatzhalter 18">
            <a:extLst>
              <a:ext uri="{FF2B5EF4-FFF2-40B4-BE49-F238E27FC236}">
                <a16:creationId xmlns:a16="http://schemas.microsoft.com/office/drawing/2014/main" id="{A3CDD64F-5311-9982-33C5-3CB006F92F63}"/>
              </a:ext>
            </a:extLst>
          </p:cNvPr>
          <p:cNvSpPr txBox="1">
            <a:spLocks/>
          </p:cNvSpPr>
          <p:nvPr/>
        </p:nvSpPr>
        <p:spPr>
          <a:xfrm>
            <a:off x="599706" y="3628646"/>
            <a:ext cx="4326270" cy="773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2820"/>
              </a:lnSpc>
            </a:pP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der Titel </a:t>
            </a:r>
            <a:b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</a:b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der Veranstaltung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C38EA74-EA86-B717-A0E0-0AF851754EC6}"/>
              </a:ext>
            </a:extLst>
          </p:cNvPr>
          <p:cNvGrpSpPr/>
          <p:nvPr/>
        </p:nvGrpSpPr>
        <p:grpSpPr>
          <a:xfrm>
            <a:off x="2334908" y="5551584"/>
            <a:ext cx="2711584" cy="360000"/>
            <a:chOff x="2189908" y="4573703"/>
            <a:chExt cx="2592958" cy="36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1E4FB2-0CD0-5215-9EB1-0384A7028121}"/>
                </a:ext>
              </a:extLst>
            </p:cNvPr>
            <p:cNvSpPr/>
            <p:nvPr/>
          </p:nvSpPr>
          <p:spPr>
            <a:xfrm>
              <a:off x="2189908" y="4573703"/>
              <a:ext cx="2592958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5AE4F9CF-54AA-CCD3-E997-408DBA0E1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52EF39B6-CA80-8AD4-7C9D-1E760FA95FE0}"/>
              </a:ext>
            </a:extLst>
          </p:cNvPr>
          <p:cNvSpPr txBox="1"/>
          <p:nvPr/>
        </p:nvSpPr>
        <p:spPr>
          <a:xfrm>
            <a:off x="2762841" y="5600739"/>
            <a:ext cx="2119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7214773-2BFB-4043-16A1-4A767A67B4EC}"/>
              </a:ext>
            </a:extLst>
          </p:cNvPr>
          <p:cNvGrpSpPr/>
          <p:nvPr/>
        </p:nvGrpSpPr>
        <p:grpSpPr>
          <a:xfrm>
            <a:off x="2305735" y="4634075"/>
            <a:ext cx="696086" cy="696086"/>
            <a:chOff x="2255736" y="3549856"/>
            <a:chExt cx="900000" cy="900000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50999323-72EA-CE22-F5FC-50D9B791D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147166BD-1CEE-18FF-34BD-61E5BC42A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19" name="Textplatzhalter 53">
            <a:extLst>
              <a:ext uri="{FF2B5EF4-FFF2-40B4-BE49-F238E27FC236}">
                <a16:creationId xmlns:a16="http://schemas.microsoft.com/office/drawing/2014/main" id="{FAE4459C-77EF-411B-E8AF-8ADBEF37514B}"/>
              </a:ext>
            </a:extLst>
          </p:cNvPr>
          <p:cNvSpPr txBox="1">
            <a:spLocks/>
          </p:cNvSpPr>
          <p:nvPr/>
        </p:nvSpPr>
        <p:spPr>
          <a:xfrm>
            <a:off x="3113102" y="4639656"/>
            <a:ext cx="2031986" cy="69050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20"/>
              </a:lnSpc>
            </a:pPr>
            <a:r>
              <a:rPr lang="de-DE" sz="1800" dirty="0"/>
              <a:t>9. November 2023</a:t>
            </a:r>
            <a:br>
              <a:rPr lang="de-DE" sz="1800" dirty="0"/>
            </a:br>
            <a:r>
              <a:rPr lang="de-DE" sz="1800" b="0" dirty="0"/>
              <a:t>9:30 – 14:00 Uhr</a:t>
            </a:r>
            <a:br>
              <a:rPr lang="de-DE" sz="1800" b="0" dirty="0"/>
            </a:br>
            <a:r>
              <a:rPr lang="de-DE" sz="1800" b="0" dirty="0"/>
              <a:t>in Münch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7DEEF31-6C08-F7A0-294A-4AE7FD842B7F}"/>
              </a:ext>
            </a:extLst>
          </p:cNvPr>
          <p:cNvSpPr txBox="1"/>
          <p:nvPr/>
        </p:nvSpPr>
        <p:spPr>
          <a:xfrm rot="16200000">
            <a:off x="3428569" y="1455465"/>
            <a:ext cx="29742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100" b="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oto © xxx</a:t>
            </a:r>
            <a:endParaRPr lang="de-DE" sz="11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1534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platzhalter 18">
            <a:extLst>
              <a:ext uri="{FF2B5EF4-FFF2-40B4-BE49-F238E27FC236}">
                <a16:creationId xmlns:a16="http://schemas.microsoft.com/office/drawing/2014/main" id="{C7C61891-EBA6-2E28-5620-6833724AAE75}"/>
              </a:ext>
            </a:extLst>
          </p:cNvPr>
          <p:cNvSpPr txBox="1">
            <a:spLocks/>
          </p:cNvSpPr>
          <p:nvPr/>
        </p:nvSpPr>
        <p:spPr>
          <a:xfrm>
            <a:off x="297004" y="3625938"/>
            <a:ext cx="4713547" cy="773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820"/>
              </a:lnSpc>
            </a:pP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der Titel der Veranstaltung wenn länger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EFEC4B77-59AE-DC6D-AE96-F1483F99B7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50D2223-C92D-61AA-0D61-BA249CD5E633}"/>
              </a:ext>
            </a:extLst>
          </p:cNvPr>
          <p:cNvGrpSpPr/>
          <p:nvPr/>
        </p:nvGrpSpPr>
        <p:grpSpPr>
          <a:xfrm>
            <a:off x="2334908" y="5551584"/>
            <a:ext cx="2711584" cy="360000"/>
            <a:chOff x="2189908" y="4573703"/>
            <a:chExt cx="2592958" cy="36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DCC3F7C-D887-B19B-A203-4BA3C9F3C4F7}"/>
                </a:ext>
              </a:extLst>
            </p:cNvPr>
            <p:cNvSpPr/>
            <p:nvPr/>
          </p:nvSpPr>
          <p:spPr>
            <a:xfrm>
              <a:off x="2189908" y="4573703"/>
              <a:ext cx="2592958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25CE813-CACE-E3A1-2EC1-AB0F00B9A4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15" name="Textfeld 14">
            <a:extLst>
              <a:ext uri="{FF2B5EF4-FFF2-40B4-BE49-F238E27FC236}">
                <a16:creationId xmlns:a16="http://schemas.microsoft.com/office/drawing/2014/main" id="{5EF6B812-0EA7-4F09-4A63-D7B1A416C1DD}"/>
              </a:ext>
            </a:extLst>
          </p:cNvPr>
          <p:cNvSpPr txBox="1"/>
          <p:nvPr/>
        </p:nvSpPr>
        <p:spPr>
          <a:xfrm>
            <a:off x="2762841" y="5600739"/>
            <a:ext cx="2119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ECA5680-042A-0C1A-88D1-ECC8A0D7732B}"/>
              </a:ext>
            </a:extLst>
          </p:cNvPr>
          <p:cNvGrpSpPr/>
          <p:nvPr/>
        </p:nvGrpSpPr>
        <p:grpSpPr>
          <a:xfrm>
            <a:off x="2305735" y="4658351"/>
            <a:ext cx="696086" cy="696086"/>
            <a:chOff x="2255736" y="3549856"/>
            <a:chExt cx="900000" cy="900000"/>
          </a:xfrm>
        </p:grpSpPr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0B3B0C85-74AC-342B-5FF9-0238F7323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2E88D45-EC99-2611-EF63-D1BB4DD6E2E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19" name="Textplatzhalter 53">
            <a:extLst>
              <a:ext uri="{FF2B5EF4-FFF2-40B4-BE49-F238E27FC236}">
                <a16:creationId xmlns:a16="http://schemas.microsoft.com/office/drawing/2014/main" id="{089E5572-CC9F-AB5F-771D-0FD870DF9180}"/>
              </a:ext>
            </a:extLst>
          </p:cNvPr>
          <p:cNvSpPr txBox="1">
            <a:spLocks/>
          </p:cNvSpPr>
          <p:nvPr/>
        </p:nvSpPr>
        <p:spPr>
          <a:xfrm>
            <a:off x="3113102" y="4663932"/>
            <a:ext cx="2031986" cy="69050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20"/>
              </a:lnSpc>
            </a:pPr>
            <a:r>
              <a:rPr lang="de-DE" sz="1800" dirty="0"/>
              <a:t>9. November 2023</a:t>
            </a:r>
            <a:br>
              <a:rPr lang="de-DE" sz="1800" dirty="0"/>
            </a:br>
            <a:r>
              <a:rPr lang="de-DE" sz="1800" b="0" dirty="0"/>
              <a:t>9:30 – 14:00 Uhr</a:t>
            </a:r>
            <a:br>
              <a:rPr lang="de-DE" sz="1800" b="0" dirty="0"/>
            </a:br>
            <a:r>
              <a:rPr lang="de-DE" sz="1800" b="0" dirty="0"/>
              <a:t>in Münch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418FA011-CC68-E83E-663E-C2F05DA614BD}"/>
              </a:ext>
            </a:extLst>
          </p:cNvPr>
          <p:cNvSpPr txBox="1"/>
          <p:nvPr/>
        </p:nvSpPr>
        <p:spPr>
          <a:xfrm rot="16200000">
            <a:off x="3428569" y="1455465"/>
            <a:ext cx="29742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100" b="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oto © xxx</a:t>
            </a:r>
            <a:endParaRPr lang="de-DE" sz="11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815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008B246-6DF1-6941-F2BA-06D959C009E6}"/>
              </a:ext>
            </a:extLst>
          </p:cNvPr>
          <p:cNvGrpSpPr/>
          <p:nvPr/>
        </p:nvGrpSpPr>
        <p:grpSpPr>
          <a:xfrm>
            <a:off x="2334908" y="5551584"/>
            <a:ext cx="2711584" cy="360000"/>
            <a:chOff x="2189908" y="4573703"/>
            <a:chExt cx="2592958" cy="360000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B836B90B-689A-246A-8D9D-E0406DBF382C}"/>
                </a:ext>
              </a:extLst>
            </p:cNvPr>
            <p:cNvSpPr/>
            <p:nvPr/>
          </p:nvSpPr>
          <p:spPr>
            <a:xfrm>
              <a:off x="2189908" y="4573703"/>
              <a:ext cx="2592958" cy="360000"/>
            </a:xfrm>
            <a:prstGeom prst="rect">
              <a:avLst/>
            </a:prstGeom>
            <a:solidFill>
              <a:srgbClr val="E40D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>
              <a:noAutofit/>
            </a:bodyPr>
            <a:lstStyle/>
            <a:p>
              <a:pPr algn="l"/>
              <a:endParaRPr lang="de-DE" sz="1600" dirty="0" err="1">
                <a:solidFill>
                  <a:schemeClr val="tx1"/>
                </a:solidFill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815ABE0F-7053-C178-52CE-95F83DA9A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92778" y="4623151"/>
              <a:ext cx="216000" cy="244422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355AAA37-DA8D-EF4A-1E2A-B84734798FE0}"/>
              </a:ext>
            </a:extLst>
          </p:cNvPr>
          <p:cNvSpPr txBox="1"/>
          <p:nvPr/>
        </p:nvSpPr>
        <p:spPr>
          <a:xfrm>
            <a:off x="2762841" y="5600739"/>
            <a:ext cx="211917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b="1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ostenfrei anmelden</a:t>
            </a:r>
          </a:p>
        </p:txBody>
      </p:sp>
      <p:sp>
        <p:nvSpPr>
          <p:cNvPr id="6" name="Titelplatzhalter 18">
            <a:extLst>
              <a:ext uri="{FF2B5EF4-FFF2-40B4-BE49-F238E27FC236}">
                <a16:creationId xmlns:a16="http://schemas.microsoft.com/office/drawing/2014/main" id="{C7C61891-EBA6-2E28-5620-6833724AAE75}"/>
              </a:ext>
            </a:extLst>
          </p:cNvPr>
          <p:cNvSpPr txBox="1">
            <a:spLocks/>
          </p:cNvSpPr>
          <p:nvPr/>
        </p:nvSpPr>
        <p:spPr>
          <a:xfrm>
            <a:off x="297005" y="3721142"/>
            <a:ext cx="4713547" cy="773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820"/>
              </a:lnSpc>
            </a:pPr>
            <a:r>
              <a:rPr lang="de-DE" sz="2600" b="1" noProof="1">
                <a:solidFill>
                  <a:srgbClr val="003366"/>
                </a:solidFill>
                <a:latin typeface="Source Sans Pro" panose="020B0503030403020204" pitchFamily="34" charset="0"/>
              </a:rPr>
              <a:t>Hier steht der Titel der Veranstaltung wenn länger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98172FA-D66A-DFCD-22A5-06E98E9F26F1}"/>
              </a:ext>
            </a:extLst>
          </p:cNvPr>
          <p:cNvGrpSpPr/>
          <p:nvPr/>
        </p:nvGrpSpPr>
        <p:grpSpPr>
          <a:xfrm>
            <a:off x="297005" y="4549953"/>
            <a:ext cx="547593" cy="547593"/>
            <a:chOff x="2255736" y="3549856"/>
            <a:chExt cx="900000" cy="9000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C8FFFCFF-86A1-1C90-37DE-0E3AB5914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255736" y="3549856"/>
              <a:ext cx="900000" cy="900000"/>
            </a:xfrm>
            <a:prstGeom prst="rect">
              <a:avLst/>
            </a:prstGeom>
          </p:spPr>
        </p:pic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F87E51F-E847-E654-2243-B5EE81E7F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463279" y="3707970"/>
              <a:ext cx="491352" cy="531818"/>
            </a:xfrm>
            <a:prstGeom prst="rect">
              <a:avLst/>
            </a:prstGeom>
          </p:spPr>
        </p:pic>
      </p:grpSp>
      <p:sp>
        <p:nvSpPr>
          <p:cNvPr id="10" name="Textplatzhalter 53">
            <a:extLst>
              <a:ext uri="{FF2B5EF4-FFF2-40B4-BE49-F238E27FC236}">
                <a16:creationId xmlns:a16="http://schemas.microsoft.com/office/drawing/2014/main" id="{DF41B3A0-64DF-5D9F-8C54-A6BD4A156023}"/>
              </a:ext>
            </a:extLst>
          </p:cNvPr>
          <p:cNvSpPr txBox="1">
            <a:spLocks/>
          </p:cNvSpPr>
          <p:nvPr/>
        </p:nvSpPr>
        <p:spPr>
          <a:xfrm>
            <a:off x="970874" y="4605581"/>
            <a:ext cx="3925888" cy="4047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2000" b="1" kern="1200">
                <a:solidFill>
                  <a:srgbClr val="003366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750" indent="-1809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98525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20"/>
              </a:lnSpc>
            </a:pPr>
            <a:r>
              <a:rPr lang="de-DE" sz="1800" dirty="0"/>
              <a:t>9. November 2023</a:t>
            </a:r>
            <a:br>
              <a:rPr lang="de-DE" sz="1800" dirty="0"/>
            </a:br>
            <a:r>
              <a:rPr lang="de-DE" sz="1800" b="0" dirty="0"/>
              <a:t>9:30 – 14:00 Uhr in München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66E1EEB-9CC7-03C4-5964-2AA6034DFD9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AEDFA7D-4661-1581-CAF7-6E789C2D766E}"/>
              </a:ext>
            </a:extLst>
          </p:cNvPr>
          <p:cNvSpPr txBox="1"/>
          <p:nvPr/>
        </p:nvSpPr>
        <p:spPr>
          <a:xfrm rot="16200000">
            <a:off x="3428569" y="1455465"/>
            <a:ext cx="29742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1100" b="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oto © xxx</a:t>
            </a:r>
            <a:endParaRPr lang="de-DE" sz="1100" dirty="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511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IHK_Master_2020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_PPT-Template" id="{787B45A7-4684-4B2A-BE69-B785DDA374B8}" vid="{613B815C-7FA6-4395-AC25-FA10C12BB2AF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7" ma:contentTypeDescription="Ein neues Dokument erstellen." ma:contentTypeScope="" ma:versionID="811042f0ab363d3520bdfbb34aadc5f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f9e8bb9a352052af0db8f2457645624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a04dc6fb-b7f1-4703-aa16-3aaf5a84df0f">
      <Terms xmlns="http://schemas.microsoft.com/office/infopath/2007/PartnerControls"/>
    </lcf76f155ced4ddcb4097134ff3c332f>
    <TaxCatchAll xmlns="7055c22d-a8fe-4eff-a0e9-a5abd381db3c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C14FAC3-3CCD-46FD-9E3A-22D1E17437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CDD627-0AF9-455E-8F2F-23F2CE296B2F}"/>
</file>

<file path=customXml/itemProps3.xml><?xml version="1.0" encoding="utf-8"?>
<ds:datastoreItem xmlns:ds="http://schemas.openxmlformats.org/officeDocument/2006/customXml" ds:itemID="{32FDE106-28A8-4203-B56A-A4678B13014D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a04dc6fb-b7f1-4703-aa16-3aaf5a84df0f"/>
    <ds:schemaRef ds:uri="7055c22d-a8fe-4eff-a0e9-a5abd381db3c"/>
  </ds:schemaRefs>
</ds:datastoreItem>
</file>

<file path=docMetadata/LabelInfo.xml><?xml version="1.0" encoding="utf-8"?>
<clbl:labelList xmlns:clbl="http://schemas.microsoft.com/office/2020/mipLabelMetadata">
  <clbl:label id="{ae434e2b-6fb6-4857-b481-761902932f44}" enabled="0" method="" siteId="{ae434e2b-6fb6-4857-b481-761902932f4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HK_PPT-Template</Template>
  <TotalTime>0</TotalTime>
  <Words>73</Words>
  <Application>Microsoft Office PowerPoint</Application>
  <PresentationFormat>Benutzerdefiniert</PresentationFormat>
  <Paragraphs>12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Source Sans Pro</vt:lpstr>
      <vt:lpstr>Wingdings</vt:lpstr>
      <vt:lpstr>IHK_Master_2020</vt:lpstr>
      <vt:lpstr>think-cell Folie</vt:lpstr>
      <vt:lpstr>PowerPoint-Präsentation</vt:lpstr>
      <vt:lpstr>PowerPoint-Präsentation</vt:lpstr>
      <vt:lpstr>PowerPoint-Präsentation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sanne Kunzelmann</dc:creator>
  <cp:lastModifiedBy>Susanne Kunzelmann</cp:lastModifiedBy>
  <cp:revision>13</cp:revision>
  <cp:lastPrinted>2020-07-13T13:33:26Z</cp:lastPrinted>
  <dcterms:created xsi:type="dcterms:W3CDTF">2023-09-29T12:27:15Z</dcterms:created>
  <dcterms:modified xsi:type="dcterms:W3CDTF">2025-01-13T13:1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D5C4606E6754A85FF17C944E6CC99</vt:lpwstr>
  </property>
  <property fmtid="{D5CDD505-2E9C-101B-9397-08002B2CF9AE}" pid="3" name="MediaServiceImageTags">
    <vt:lpwstr/>
  </property>
</Properties>
</file>